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4" r:id="rId7"/>
    <p:sldId id="26418" r:id="rId8"/>
    <p:sldId id="2145706259" r:id="rId9"/>
    <p:sldId id="2145706229" r:id="rId10"/>
    <p:sldId id="2145706260" r:id="rId11"/>
    <p:sldId id="2145706255" r:id="rId12"/>
    <p:sldId id="2145706261" r:id="rId13"/>
    <p:sldId id="2145706256" r:id="rId14"/>
    <p:sldId id="2145706262" r:id="rId15"/>
    <p:sldId id="2145706246" r:id="rId16"/>
    <p:sldId id="2145706257" r:id="rId17"/>
    <p:sldId id="2145706249" r:id="rId18"/>
    <p:sldId id="2145706250" r:id="rId19"/>
    <p:sldId id="2145706251" r:id="rId20"/>
    <p:sldId id="2145706248" r:id="rId21"/>
    <p:sldId id="214570622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B110180-FE40-41A5-A7A7-BD63C96EDD0C}"/>
    <pc:docChg chg="modSld">
      <pc:chgData name="Graf Thomas, INI-NET-VNC-HCS" userId="487bc3e3-9ce7-4cdd-b7b4-8899ea88d289" providerId="ADAL" clId="{EB110180-FE40-41A5-A7A7-BD63C96EDD0C}" dt="2024-06-30T09:32:15.173" v="30" actId="20577"/>
      <pc:docMkLst>
        <pc:docMk/>
      </pc:docMkLst>
      <pc:sldChg chg="modSp mod">
        <pc:chgData name="Graf Thomas, INI-NET-VNC-HCS" userId="487bc3e3-9ce7-4cdd-b7b4-8899ea88d289" providerId="ADAL" clId="{EB110180-FE40-41A5-A7A7-BD63C96EDD0C}" dt="2024-06-30T09:32:15.173" v="30" actId="20577"/>
        <pc:sldMkLst>
          <pc:docMk/>
          <pc:sldMk cId="22946092" sldId="2145706261"/>
        </pc:sldMkLst>
        <pc:spChg chg="mod">
          <ac:chgData name="Graf Thomas, INI-NET-VNC-HCS" userId="487bc3e3-9ce7-4cdd-b7b4-8899ea88d289" providerId="ADAL" clId="{EB110180-FE40-41A5-A7A7-BD63C96EDD0C}" dt="2024-06-30T09:32:15.173" v="30" actId="20577"/>
          <ac:spMkLst>
            <pc:docMk/>
            <pc:sldMk cId="22946092" sldId="2145706261"/>
            <ac:spMk id="3" creationId="{29C0DFD4-432D-4B0C-93DF-790441DCF5B9}"/>
          </ac:spMkLst>
        </pc:spChg>
      </pc:sldChg>
    </pc:docChg>
  </pc:docChgLst>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30.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6</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1</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0</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5</a:t>
            </a:fld>
            <a:endParaRPr lang="de-CH"/>
          </a:p>
        </p:txBody>
      </p:sp>
    </p:spTree>
    <p:extLst>
      <p:ext uri="{BB962C8B-B14F-4D97-AF65-F5344CB8AC3E}">
        <p14:creationId xmlns:p14="http://schemas.microsoft.com/office/powerpoint/2010/main" val="2001496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30.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30.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41#section-5"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1</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either </a:t>
            </a:r>
            <a:r>
              <a:rPr lang="en-US" sz="1700" b="1" dirty="0"/>
              <a:t>"state-changed", when the state change was observed in real-time </a:t>
            </a:r>
            <a:r>
              <a:rPr lang="en-US" sz="1700" dirty="0"/>
              <a:t>with or without sync on start option. Or it is </a:t>
            </a:r>
            <a:r>
              <a:rPr lang="en-US" sz="1700" b="1" dirty="0"/>
              <a:t>"current-state" when it was observed after the YANG-Push subscription was established and the time since the state changed to current state is unknown. </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operational </a:t>
            </a:r>
            <a:r>
              <a:rPr lang="en-US" sz="1700"/>
              <a:t>considerations and implementation </a:t>
            </a:r>
            <a:r>
              <a:rPr lang="en-US" sz="1700" dirty="0"/>
              <a:t>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2701002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4</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1</a:t>
            </a:fld>
            <a:endParaRPr lang="de-CH"/>
          </a:p>
        </p:txBody>
      </p:sp>
    </p:spTree>
    <p:extLst>
      <p:ext uri="{BB962C8B-B14F-4D97-AF65-F5344CB8AC3E}">
        <p14:creationId xmlns:p14="http://schemas.microsoft.com/office/powerpoint/2010/main" val="670772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g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65194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7"/>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3264932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341</Words>
  <Application>Microsoft Office PowerPoint</Application>
  <PresentationFormat>Widescreen</PresentationFormat>
  <Paragraphs>408</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YANG model for NETCONF Event Notifications draft-ahuang-netconf-notif-yang-05  - Status and Next Steps</vt:lpstr>
      <vt:lpstr>Extend Netconf Notifications with Hostname and Sequence Number For push-update and push-change-update</vt:lpstr>
      <vt:lpstr>Extend Netconf Notifications with Hostname and Sequence Number draft-tgraf-netconf-notif-sequencing-05  - Status and Next Steps</vt:lpstr>
      <vt:lpstr>Extend YANG-Push Notifications with Observation Timestamping For push-update and push-change-update</vt:lpstr>
      <vt:lpstr>Extend YANG-Push Notifications with Observation Timestamping draft-tgraf-netconf-yang-push-observation-time-01  - Status and Next Steps</vt:lpstr>
      <vt:lpstr>Support of Versioning in YANG Notifications Subscription For subscription state change notification messages</vt:lpstr>
      <vt:lpstr>Support of Versioning in YANG Notifications Subscription draft-ietf-netconf-yang-notifications-versioning-04  - Status and Next Step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3</cp:revision>
  <dcterms:created xsi:type="dcterms:W3CDTF">2019-11-29T14:22:02Z</dcterms:created>
  <dcterms:modified xsi:type="dcterms:W3CDTF">2024-06-30T09:3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